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0"/>
  </p:notesMasterIdLst>
  <p:handoutMasterIdLst>
    <p:handoutMasterId r:id="rId11"/>
  </p:handoutMasterIdLst>
  <p:sldIdLst>
    <p:sldId id="546" r:id="rId7"/>
    <p:sldId id="2141411554" r:id="rId8"/>
    <p:sldId id="2141411444" r:id="rId9"/>
  </p:sldIdLst>
  <p:sldSz cx="12192000" cy="6858000"/>
  <p:notesSz cx="6670675" cy="9777413"/>
  <p:custDataLst>
    <p:tags r:id="rId12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2A2463-F71D-4DE2-8335-E7EA5C09F2E7}" v="1" dt="2024-04-02T20:37:07.551"/>
    <p1510:client id="{CA27C128-522C-4354-BA85-E9538BB09376}" v="2" dt="2024-04-02T20:13:50.37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F0BDB71A-7BED-46EC-B1DF-9AC7FC6C5192}"/>
    <pc:docChg chg="modSld">
      <pc:chgData name="Kevin Hanson" userId="e60c6aad-8614-4884-8dc2-e8f78e5022b5" providerId="ADAL" clId="{F0BDB71A-7BED-46EC-B1DF-9AC7FC6C5192}" dt="2024-04-01T14:25:54.278" v="0" actId="20577"/>
      <pc:docMkLst>
        <pc:docMk/>
      </pc:docMkLst>
      <pc:sldChg chg="modSp mod">
        <pc:chgData name="Kevin Hanson" userId="e60c6aad-8614-4884-8dc2-e8f78e5022b5" providerId="ADAL" clId="{F0BDB71A-7BED-46EC-B1DF-9AC7FC6C5192}" dt="2024-04-01T14:25:54.278" v="0" actId="20577"/>
        <pc:sldMkLst>
          <pc:docMk/>
          <pc:sldMk cId="1719432851" sldId="2141411573"/>
        </pc:sldMkLst>
        <pc:spChg chg="mod">
          <ac:chgData name="Kevin Hanson" userId="e60c6aad-8614-4884-8dc2-e8f78e5022b5" providerId="ADAL" clId="{F0BDB71A-7BED-46EC-B1DF-9AC7FC6C5192}" dt="2024-04-01T14:25:54.278" v="0" actId="20577"/>
          <ac:spMkLst>
            <pc:docMk/>
            <pc:sldMk cId="1719432851" sldId="2141411573"/>
            <ac:spMk id="3" creationId="{0DC0400C-A95B-4F6A-91D7-9F32927DA9E1}"/>
          </ac:spMkLst>
        </pc:spChg>
      </pc:sldChg>
    </pc:docChg>
  </pc:docChgLst>
  <pc:docChgLst>
    <pc:chgData name="Kevin Hanson" userId="e60c6aad-8614-4884-8dc2-e8f78e5022b5" providerId="ADAL" clId="{352A2463-F71D-4DE2-8335-E7EA5C09F2E7}"/>
    <pc:docChg chg="modSld">
      <pc:chgData name="Kevin Hanson" userId="e60c6aad-8614-4884-8dc2-e8f78e5022b5" providerId="ADAL" clId="{352A2463-F71D-4DE2-8335-E7EA5C09F2E7}" dt="2024-04-02T20:37:07.551" v="5" actId="1076"/>
      <pc:docMkLst>
        <pc:docMk/>
      </pc:docMkLst>
      <pc:sldChg chg="modSp mod">
        <pc:chgData name="Kevin Hanson" userId="e60c6aad-8614-4884-8dc2-e8f78e5022b5" providerId="ADAL" clId="{352A2463-F71D-4DE2-8335-E7EA5C09F2E7}" dt="2024-04-02T20:37:07.551" v="5" actId="1076"/>
        <pc:sldMkLst>
          <pc:docMk/>
          <pc:sldMk cId="3173487482" sldId="2141411554"/>
        </pc:sldMkLst>
        <pc:spChg chg="mod">
          <ac:chgData name="Kevin Hanson" userId="e60c6aad-8614-4884-8dc2-e8f78e5022b5" providerId="ADAL" clId="{352A2463-F71D-4DE2-8335-E7EA5C09F2E7}" dt="2024-04-02T20:37:07.551" v="5" actId="1076"/>
          <ac:spMkLst>
            <pc:docMk/>
            <pc:sldMk cId="3173487482" sldId="2141411554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CA27C128-522C-4354-BA85-E9538BB09376}"/>
    <pc:docChg chg="delSld modSld">
      <pc:chgData name="Kevin Hanson" userId="e60c6aad-8614-4884-8dc2-e8f78e5022b5" providerId="ADAL" clId="{CA27C128-522C-4354-BA85-E9538BB09376}" dt="2024-04-02T20:15:03.955" v="733" actId="20577"/>
      <pc:docMkLst>
        <pc:docMk/>
      </pc:docMkLst>
      <pc:sldChg chg="modSp mod">
        <pc:chgData name="Kevin Hanson" userId="e60c6aad-8614-4884-8dc2-e8f78e5022b5" providerId="ADAL" clId="{CA27C128-522C-4354-BA85-E9538BB09376}" dt="2024-04-02T20:09:30.630" v="41" actId="14100"/>
        <pc:sldMkLst>
          <pc:docMk/>
          <pc:sldMk cId="136374311" sldId="546"/>
        </pc:sldMkLst>
        <pc:spChg chg="mod">
          <ac:chgData name="Kevin Hanson" userId="e60c6aad-8614-4884-8dc2-e8f78e5022b5" providerId="ADAL" clId="{CA27C128-522C-4354-BA85-E9538BB09376}" dt="2024-04-02T20:09:30.630" v="41" actId="14100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CA27C128-522C-4354-BA85-E9538BB09376}" dt="2024-04-02T20:08:56.080" v="17" actId="6549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 Hanson" userId="e60c6aad-8614-4884-8dc2-e8f78e5022b5" providerId="ADAL" clId="{CA27C128-522C-4354-BA85-E9538BB09376}" dt="2024-04-02T20:15:03.955" v="733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CA27C128-522C-4354-BA85-E9538BB09376}" dt="2024-04-02T20:15:03.955" v="733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Kevin Hanson" userId="e60c6aad-8614-4884-8dc2-e8f78e5022b5" providerId="ADAL" clId="{CA27C128-522C-4354-BA85-E9538BB09376}" dt="2024-04-02T20:09:04.548" v="22" actId="47"/>
        <pc:sldMkLst>
          <pc:docMk/>
          <pc:sldMk cId="1697509904" sldId="2141411572"/>
        </pc:sldMkLst>
      </pc:sldChg>
      <pc:sldChg chg="del">
        <pc:chgData name="Kevin Hanson" userId="e60c6aad-8614-4884-8dc2-e8f78e5022b5" providerId="ADAL" clId="{CA27C128-522C-4354-BA85-E9538BB09376}" dt="2024-04-02T20:09:03.992" v="21" actId="47"/>
        <pc:sldMkLst>
          <pc:docMk/>
          <pc:sldMk cId="1719432851" sldId="2141411573"/>
        </pc:sldMkLst>
      </pc:sldChg>
      <pc:sldChg chg="del">
        <pc:chgData name="Kevin Hanson" userId="e60c6aad-8614-4884-8dc2-e8f78e5022b5" providerId="ADAL" clId="{CA27C128-522C-4354-BA85-E9538BB09376}" dt="2024-04-02T20:09:05.435" v="23" actId="47"/>
        <pc:sldMkLst>
          <pc:docMk/>
          <pc:sldMk cId="3248837613" sldId="2141411575"/>
        </pc:sldMkLst>
      </pc:sldChg>
      <pc:sldChg chg="del">
        <pc:chgData name="Kevin Hanson" userId="e60c6aad-8614-4884-8dc2-e8f78e5022b5" providerId="ADAL" clId="{CA27C128-522C-4354-BA85-E9538BB09376}" dt="2024-04-02T20:09:02.285" v="18" actId="47"/>
        <pc:sldMkLst>
          <pc:docMk/>
          <pc:sldMk cId="4102499870" sldId="2141411576"/>
        </pc:sldMkLst>
      </pc:sldChg>
      <pc:sldChg chg="del">
        <pc:chgData name="Kevin Hanson" userId="e60c6aad-8614-4884-8dc2-e8f78e5022b5" providerId="ADAL" clId="{CA27C128-522C-4354-BA85-E9538BB09376}" dt="2024-04-02T20:09:02.789" v="19" actId="47"/>
        <pc:sldMkLst>
          <pc:docMk/>
          <pc:sldMk cId="1764952173" sldId="2141411577"/>
        </pc:sldMkLst>
      </pc:sldChg>
      <pc:sldChg chg="del">
        <pc:chgData name="Kevin Hanson" userId="e60c6aad-8614-4884-8dc2-e8f78e5022b5" providerId="ADAL" clId="{CA27C128-522C-4354-BA85-E9538BB09376}" dt="2024-04-02T20:09:03.350" v="20" actId="47"/>
        <pc:sldMkLst>
          <pc:docMk/>
          <pc:sldMk cId="4099801766" sldId="21414115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2/04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2/04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868601" cy="2481427"/>
          </a:xfrm>
        </p:spPr>
        <p:txBody>
          <a:bodyPr/>
          <a:lstStyle/>
          <a:p>
            <a:r>
              <a:rPr lang="en-GB" dirty="0"/>
              <a:t>Wholesale Market Working Group Update</a:t>
            </a:r>
            <a:br>
              <a:rPr lang="en-GB" dirty="0"/>
            </a:br>
            <a:r>
              <a:rPr lang="en-GB" dirty="0"/>
              <a:t>April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April 3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Blake Holt (LCRA) 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153874"/>
            <a:ext cx="10668551" cy="5704126"/>
          </a:xfrm>
        </p:spPr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WMWG meeting occurred on April 2, 2024</a:t>
            </a:r>
          </a:p>
          <a:p>
            <a:r>
              <a:rPr lang="en-US" b="0" dirty="0">
                <a:solidFill>
                  <a:srgbClr val="FF0000"/>
                </a:solidFill>
                <a:latin typeface="Roboto" panose="02000000000000000000" pitchFamily="2" charset="0"/>
              </a:rPr>
              <a:t>Kevin Hanson (National Grid) and Blake Holt (LCRA) were selected as Chair and Vice Chair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Zhengguo Chu (ERCOT) presented on Reliability Deployment Price Adder broken out by reason in monthly RUC Report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NPRR 1216 was discussed with comments from ERCOT and TCPA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	Additional discussion will occur next month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AS Capacity Monitor updates were presented by Sam Fabricant (ERCOT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DAM PTP Activity Update was presented by Alfredo Moreno (ERCOT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In other business, NPRR 1190 was discussed</a:t>
            </a: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4700</TotalTime>
  <Words>127</Words>
  <Application>Microsoft Office PowerPoint</Application>
  <PresentationFormat>Widescreen</PresentationFormat>
  <Paragraphs>14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Wholesale Market Working Group Update April 2024 Update to WMS  </vt:lpstr>
      <vt:lpstr>Overview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3</cp:revision>
  <cp:lastPrinted>2018-08-10T07:16:05Z</cp:lastPrinted>
  <dcterms:created xsi:type="dcterms:W3CDTF">2021-05-20T11:21:33Z</dcterms:created>
  <dcterms:modified xsi:type="dcterms:W3CDTF">2024-04-02T20:3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